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456" r:id="rId2"/>
    <p:sldId id="519" r:id="rId3"/>
    <p:sldId id="513" r:id="rId4"/>
    <p:sldId id="514" r:id="rId5"/>
    <p:sldId id="515" r:id="rId6"/>
    <p:sldId id="517" r:id="rId7"/>
    <p:sldId id="518" r:id="rId8"/>
    <p:sldId id="516" r:id="rId9"/>
    <p:sldId id="512" r:id="rId10"/>
    <p:sldId id="497" r:id="rId11"/>
    <p:sldId id="520" r:id="rId12"/>
    <p:sldId id="521" r:id="rId13"/>
    <p:sldId id="522" r:id="rId14"/>
  </p:sldIdLst>
  <p:sldSz cx="10045700" cy="7561263"/>
  <p:notesSz cx="6742113" cy="987266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50280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100560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50840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20112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514014" algn="l" defTabSz="100560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3016818" algn="l" defTabSz="100560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519621" algn="l" defTabSz="100560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4022424" algn="l" defTabSz="1005606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1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4900"/>
    <a:srgbClr val="FCC69E"/>
    <a:srgbClr val="EE5D22"/>
    <a:srgbClr val="F37843"/>
    <a:srgbClr val="D64504"/>
    <a:srgbClr val="E9EFF7"/>
    <a:srgbClr val="000000"/>
    <a:srgbClr val="D9CB79"/>
    <a:srgbClr val="F0A756"/>
    <a:srgbClr val="ED9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65" autoAdjust="0"/>
    <p:restoredTop sz="99017" autoAdjust="0"/>
  </p:normalViewPr>
  <p:slideViewPr>
    <p:cSldViewPr>
      <p:cViewPr varScale="1">
        <p:scale>
          <a:sx n="68" d="100"/>
          <a:sy n="68" d="100"/>
        </p:scale>
        <p:origin x="1188" y="60"/>
      </p:cViewPr>
      <p:guideLst>
        <p:guide orient="horz" pos="2382"/>
        <p:guide pos="31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ru-RU" sz="1400" dirty="0" smtClean="0">
                <a:latin typeface="+mn-lt"/>
              </a:rPr>
              <a:t>Мировые продажи автомобилей</a:t>
            </a:r>
            <a:endParaRPr lang="ru-RU" sz="1400" dirty="0">
              <a:latin typeface="+mn-lt"/>
            </a:endParaRPr>
          </a:p>
        </c:rich>
      </c:tx>
      <c:layout>
        <c:manualLayout>
          <c:xMode val="edge"/>
          <c:yMode val="edge"/>
          <c:x val="0.25736319190661383"/>
          <c:y val="2.089715645512846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7216720416056644"/>
          <c:y val="0.10500351769768056"/>
          <c:w val="0.82514744079320734"/>
          <c:h val="0.6253505197837833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лностью автомные автомобили</c:v>
                </c:pt>
              </c:strCache>
            </c:strRef>
          </c:tx>
          <c:invertIfNegative val="0"/>
          <c:cat>
            <c:numRef>
              <c:f>Лист1!$A$2:$A$9</c:f>
              <c:numCache>
                <c:formatCode>0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Лист1!$B$2:$B$9</c:f>
              <c:numCache>
                <c:formatCode>0</c:formatCode>
                <c:ptCount val="8"/>
                <c:pt idx="0">
                  <c:v>0</c:v>
                </c:pt>
                <c:pt idx="1">
                  <c:v>150</c:v>
                </c:pt>
                <c:pt idx="2">
                  <c:v>250</c:v>
                </c:pt>
                <c:pt idx="3">
                  <c:v>3800</c:v>
                </c:pt>
                <c:pt idx="4">
                  <c:v>12000</c:v>
                </c:pt>
                <c:pt idx="5">
                  <c:v>42500</c:v>
                </c:pt>
                <c:pt idx="6">
                  <c:v>138750</c:v>
                </c:pt>
                <c:pt idx="7">
                  <c:v>2000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автомобили с ручным управлением</c:v>
                </c:pt>
              </c:strCache>
            </c:strRef>
          </c:tx>
          <c:invertIfNegative val="0"/>
          <c:cat>
            <c:numRef>
              <c:f>Лист1!$A$2:$A$9</c:f>
              <c:numCache>
                <c:formatCode>0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Лист1!$C$2:$C$9</c:f>
              <c:numCache>
                <c:formatCode>0</c:formatCode>
                <c:ptCount val="8"/>
                <c:pt idx="0">
                  <c:v>89000</c:v>
                </c:pt>
                <c:pt idx="1">
                  <c:v>104850</c:v>
                </c:pt>
                <c:pt idx="2">
                  <c:v>122250</c:v>
                </c:pt>
                <c:pt idx="3">
                  <c:v>136200</c:v>
                </c:pt>
                <c:pt idx="4">
                  <c:v>143000</c:v>
                </c:pt>
                <c:pt idx="5">
                  <c:v>127500</c:v>
                </c:pt>
                <c:pt idx="6">
                  <c:v>46250</c:v>
                </c:pt>
                <c:pt idx="7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00837752"/>
        <c:axId val="300838144"/>
      </c:barChart>
      <c:catAx>
        <c:axId val="300837752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1200" baseline="0"/>
            </a:pPr>
            <a:endParaRPr lang="ru-RU"/>
          </a:p>
        </c:txPr>
        <c:crossAx val="300838144"/>
        <c:crosses val="autoZero"/>
        <c:auto val="1"/>
        <c:lblAlgn val="ctr"/>
        <c:lblOffset val="100"/>
        <c:noMultiLvlLbl val="0"/>
      </c:catAx>
      <c:valAx>
        <c:axId val="300838144"/>
        <c:scaling>
          <c:orientation val="minMax"/>
          <c:max val="200000"/>
        </c:scaling>
        <c:delete val="0"/>
        <c:axPos val="l"/>
        <c:majorGridlines/>
        <c:title>
          <c:tx>
            <c:rich>
              <a:bodyPr rot="0" vert="horz"/>
              <a:lstStyle/>
              <a:p>
                <a:pPr>
                  <a:defRPr sz="1200" b="0" i="1"/>
                </a:pPr>
                <a:r>
                  <a:rPr lang="ru-RU" sz="1200" b="0" i="1" dirty="0" smtClean="0"/>
                  <a:t>тыс.ед</a:t>
                </a:r>
                <a:endParaRPr lang="ru-RU" sz="1200" b="0" i="1" dirty="0"/>
              </a:p>
            </c:rich>
          </c:tx>
          <c:layout>
            <c:manualLayout>
              <c:xMode val="edge"/>
              <c:yMode val="edge"/>
              <c:x val="4.2390409664924397E-2"/>
              <c:y val="0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300837752"/>
        <c:crosses val="autoZero"/>
        <c:crossBetween val="between"/>
        <c:majorUnit val="25000"/>
      </c:valAx>
      <c:spPr>
        <a:solidFill>
          <a:schemeClr val="dk1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c:spPr>
    </c:plotArea>
    <c:legend>
      <c:legendPos val="b"/>
      <c:layout>
        <c:manualLayout>
          <c:xMode val="edge"/>
          <c:yMode val="edge"/>
          <c:x val="5.0960170594139986E-2"/>
          <c:y val="0.82259094159783153"/>
          <c:w val="0.51097978366872199"/>
          <c:h val="0.15195292704382107"/>
        </c:manualLayout>
      </c:layout>
      <c:overlay val="0"/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22317" cy="493634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8224" y="0"/>
            <a:ext cx="2922317" cy="493634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6E00EBAE-C0E0-4FC4-B2AC-717EA69DBD89}" type="datetimeFigureOut">
              <a:rPr lang="ru-RU"/>
              <a:pPr>
                <a:defRPr/>
              </a:pPr>
              <a:t>27.05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377443"/>
            <a:ext cx="2922317" cy="493634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8224" y="9377443"/>
            <a:ext cx="2922317" cy="493634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4AE691CC-84A1-4F31-9C4B-B9377E430F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1260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22317" cy="493634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224" y="0"/>
            <a:ext cx="2922317" cy="493634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C3540CF7-E2CB-4CCB-A099-73F708EFEDC4}" type="datetimeFigureOut">
              <a:rPr lang="ru-RU"/>
              <a:pPr>
                <a:defRPr/>
              </a:pPr>
              <a:t>27.05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1225" y="739775"/>
            <a:ext cx="4919663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3" rIns="91425" bIns="45713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900" y="4690312"/>
            <a:ext cx="5394320" cy="4441111"/>
          </a:xfrm>
          <a:prstGeom prst="rect">
            <a:avLst/>
          </a:prstGeom>
        </p:spPr>
        <p:txBody>
          <a:bodyPr vert="horz" lIns="91425" tIns="45713" rIns="91425" bIns="45713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77443"/>
            <a:ext cx="2922317" cy="493634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224" y="9377443"/>
            <a:ext cx="2922317" cy="493634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CB634F01-1D7C-4F6E-B887-2231EA8B04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68837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2802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05606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08407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11211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14014" algn="l" defTabSz="100560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16818" algn="l" defTabSz="100560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19621" algn="l" defTabSz="100560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22424" algn="l" defTabSz="100560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634F01-1D7C-4F6E-B887-2231EA8B049A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5790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53430" y="2348895"/>
            <a:ext cx="8538845" cy="162077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06855" y="4284718"/>
            <a:ext cx="703199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5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0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1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4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1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22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61456-0041-416B-893A-3083476614C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9005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4B64A-4599-47A0-8D33-54313438931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596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283132" y="302804"/>
            <a:ext cx="2260283" cy="645157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2285" y="302804"/>
            <a:ext cx="6613419" cy="645157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CD1956-13AB-4832-B7BF-10E1CA795B6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329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2707" y="7115104"/>
            <a:ext cx="2343997" cy="402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1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5F13A9-AA69-4AEE-8EC3-10DF6A26DC2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Rectangle 4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-23148" y="7458272"/>
            <a:ext cx="10068848" cy="119075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102021" tIns="51010" rIns="102021" bIns="51010" anchor="ctr"/>
          <a:lstStyle/>
          <a:p>
            <a:pPr algn="ctr"/>
            <a:endParaRPr lang="en-US" sz="1014" dirty="0">
              <a:solidFill>
                <a:srgbClr val="45545F"/>
              </a:solidFill>
              <a:latin typeface="Calibri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16941" y="604945"/>
            <a:ext cx="7300064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95902" y="146882"/>
            <a:ext cx="7221104" cy="396961"/>
          </a:xfrm>
          <a:prstGeom prst="rect">
            <a:avLst/>
          </a:prstGeom>
        </p:spPr>
        <p:txBody>
          <a:bodyPr/>
          <a:lstStyle>
            <a:lvl1pPr algn="l">
              <a:defRPr sz="1623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4095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D7590-CD39-4111-B565-FAF5855B408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5396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541" y="4858814"/>
            <a:ext cx="8538845" cy="1501751"/>
          </a:xfrm>
        </p:spPr>
        <p:txBody>
          <a:bodyPr anchor="t"/>
          <a:lstStyle>
            <a:lvl1pPr algn="l">
              <a:defRPr sz="44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541" y="3204786"/>
            <a:ext cx="8538845" cy="1654026"/>
          </a:xfrm>
        </p:spPr>
        <p:txBody>
          <a:bodyPr anchor="b"/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5028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0574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0861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201148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51436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301723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52010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402298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260031-C4BD-4154-8C7F-4DD18E260A3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884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2286" y="1764295"/>
            <a:ext cx="4436851" cy="4990084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06564" y="1764295"/>
            <a:ext cx="4436851" cy="4990084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85FFBB-0EB2-43CF-A441-4F3A2093C1B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252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02285" y="1692533"/>
            <a:ext cx="4438595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2872" indent="0">
              <a:buNone/>
              <a:defRPr sz="2200" b="1"/>
            </a:lvl2pPr>
            <a:lvl3pPr marL="1005745" indent="0">
              <a:buNone/>
              <a:defRPr sz="2000" b="1"/>
            </a:lvl3pPr>
            <a:lvl4pPr marL="1508616" indent="0">
              <a:buNone/>
              <a:defRPr sz="1800" b="1"/>
            </a:lvl4pPr>
            <a:lvl5pPr marL="2011489" indent="0">
              <a:buNone/>
              <a:defRPr sz="1800" b="1"/>
            </a:lvl5pPr>
            <a:lvl6pPr marL="2514362" indent="0">
              <a:buNone/>
              <a:defRPr sz="1800" b="1"/>
            </a:lvl6pPr>
            <a:lvl7pPr marL="3017235" indent="0">
              <a:buNone/>
              <a:defRPr sz="1800" b="1"/>
            </a:lvl7pPr>
            <a:lvl8pPr marL="3520108" indent="0">
              <a:buNone/>
              <a:defRPr sz="1800" b="1"/>
            </a:lvl8pPr>
            <a:lvl9pPr marL="4022980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285" y="2397901"/>
            <a:ext cx="4438595" cy="4356478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103079" y="1692533"/>
            <a:ext cx="4440339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2872" indent="0">
              <a:buNone/>
              <a:defRPr sz="2200" b="1"/>
            </a:lvl2pPr>
            <a:lvl3pPr marL="1005745" indent="0">
              <a:buNone/>
              <a:defRPr sz="2000" b="1"/>
            </a:lvl3pPr>
            <a:lvl4pPr marL="1508616" indent="0">
              <a:buNone/>
              <a:defRPr sz="1800" b="1"/>
            </a:lvl4pPr>
            <a:lvl5pPr marL="2011489" indent="0">
              <a:buNone/>
              <a:defRPr sz="1800" b="1"/>
            </a:lvl5pPr>
            <a:lvl6pPr marL="2514362" indent="0">
              <a:buNone/>
              <a:defRPr sz="1800" b="1"/>
            </a:lvl6pPr>
            <a:lvl7pPr marL="3017235" indent="0">
              <a:buNone/>
              <a:defRPr sz="1800" b="1"/>
            </a:lvl7pPr>
            <a:lvl8pPr marL="3520108" indent="0">
              <a:buNone/>
              <a:defRPr sz="1800" b="1"/>
            </a:lvl8pPr>
            <a:lvl9pPr marL="4022980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103079" y="2397901"/>
            <a:ext cx="4440339" cy="4356478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0FC55-D3C0-44B0-83FF-FFDE89CA778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3431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E0843A-E5F4-4106-9ECA-A3B086D1A42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472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E85BFA-282B-4743-AFD1-560C1C4BA48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1376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2288" y="301050"/>
            <a:ext cx="3304966" cy="1281214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27592" y="301051"/>
            <a:ext cx="5615825" cy="6453328"/>
          </a:xfrm>
        </p:spPr>
        <p:txBody>
          <a:bodyPr/>
          <a:lstStyle>
            <a:lvl1pPr>
              <a:defRPr sz="35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02288" y="1582265"/>
            <a:ext cx="3304966" cy="5172114"/>
          </a:xfrm>
        </p:spPr>
        <p:txBody>
          <a:bodyPr/>
          <a:lstStyle>
            <a:lvl1pPr marL="0" indent="0">
              <a:buNone/>
              <a:defRPr sz="1500"/>
            </a:lvl1pPr>
            <a:lvl2pPr marL="502872" indent="0">
              <a:buNone/>
              <a:defRPr sz="1300"/>
            </a:lvl2pPr>
            <a:lvl3pPr marL="1005745" indent="0">
              <a:buNone/>
              <a:defRPr sz="1100"/>
            </a:lvl3pPr>
            <a:lvl4pPr marL="1508616" indent="0">
              <a:buNone/>
              <a:defRPr sz="1000"/>
            </a:lvl4pPr>
            <a:lvl5pPr marL="2011489" indent="0">
              <a:buNone/>
              <a:defRPr sz="1000"/>
            </a:lvl5pPr>
            <a:lvl6pPr marL="2514362" indent="0">
              <a:buNone/>
              <a:defRPr sz="1000"/>
            </a:lvl6pPr>
            <a:lvl7pPr marL="3017235" indent="0">
              <a:buNone/>
              <a:defRPr sz="1000"/>
            </a:lvl7pPr>
            <a:lvl8pPr marL="3520108" indent="0">
              <a:buNone/>
              <a:defRPr sz="1000"/>
            </a:lvl8pPr>
            <a:lvl9pPr marL="402298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B46403-3AEE-42D9-8D8E-4B4850DB55C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055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69028" y="5292884"/>
            <a:ext cx="6027420" cy="624855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69028" y="675613"/>
            <a:ext cx="6027420" cy="4536758"/>
          </a:xfrm>
        </p:spPr>
        <p:txBody>
          <a:bodyPr rtlCol="0">
            <a:normAutofit/>
          </a:bodyPr>
          <a:lstStyle>
            <a:lvl1pPr marL="0" indent="0">
              <a:buNone/>
              <a:defRPr sz="3500"/>
            </a:lvl1pPr>
            <a:lvl2pPr marL="502872" indent="0">
              <a:buNone/>
              <a:defRPr sz="3100"/>
            </a:lvl2pPr>
            <a:lvl3pPr marL="1005745" indent="0">
              <a:buNone/>
              <a:defRPr sz="2600"/>
            </a:lvl3pPr>
            <a:lvl4pPr marL="1508616" indent="0">
              <a:buNone/>
              <a:defRPr sz="2200"/>
            </a:lvl4pPr>
            <a:lvl5pPr marL="2011489" indent="0">
              <a:buNone/>
              <a:defRPr sz="2200"/>
            </a:lvl5pPr>
            <a:lvl6pPr marL="2514362" indent="0">
              <a:buNone/>
              <a:defRPr sz="2200"/>
            </a:lvl6pPr>
            <a:lvl7pPr marL="3017235" indent="0">
              <a:buNone/>
              <a:defRPr sz="2200"/>
            </a:lvl7pPr>
            <a:lvl8pPr marL="3520108" indent="0">
              <a:buNone/>
              <a:defRPr sz="2200"/>
            </a:lvl8pPr>
            <a:lvl9pPr marL="4022980" indent="0">
              <a:buNone/>
              <a:defRPr sz="22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69028" y="5917739"/>
            <a:ext cx="6027420" cy="887398"/>
          </a:xfrm>
        </p:spPr>
        <p:txBody>
          <a:bodyPr/>
          <a:lstStyle>
            <a:lvl1pPr marL="0" indent="0">
              <a:buNone/>
              <a:defRPr sz="1500"/>
            </a:lvl1pPr>
            <a:lvl2pPr marL="502872" indent="0">
              <a:buNone/>
              <a:defRPr sz="1300"/>
            </a:lvl2pPr>
            <a:lvl3pPr marL="1005745" indent="0">
              <a:buNone/>
              <a:defRPr sz="1100"/>
            </a:lvl3pPr>
            <a:lvl4pPr marL="1508616" indent="0">
              <a:buNone/>
              <a:defRPr sz="1000"/>
            </a:lvl4pPr>
            <a:lvl5pPr marL="2011489" indent="0">
              <a:buNone/>
              <a:defRPr sz="1000"/>
            </a:lvl5pPr>
            <a:lvl6pPr marL="2514362" indent="0">
              <a:buNone/>
              <a:defRPr sz="1000"/>
            </a:lvl6pPr>
            <a:lvl7pPr marL="3017235" indent="0">
              <a:buNone/>
              <a:defRPr sz="1000"/>
            </a:lvl7pPr>
            <a:lvl8pPr marL="3520108" indent="0">
              <a:buNone/>
              <a:defRPr sz="1000"/>
            </a:lvl8pPr>
            <a:lvl9pPr marL="402298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AF2006-EE24-41B4-8627-918EA78CA6A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893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502285" y="302802"/>
            <a:ext cx="9041130" cy="126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0574" tIns="50288" rIns="100574" bIns="5028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502285" y="1764295"/>
            <a:ext cx="9041130" cy="4990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0574" tIns="50288" rIns="100574" bIns="502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02287" y="7008173"/>
            <a:ext cx="2343997" cy="402567"/>
          </a:xfrm>
          <a:prstGeom prst="rect">
            <a:avLst/>
          </a:prstGeom>
        </p:spPr>
        <p:txBody>
          <a:bodyPr vert="horz" lIns="100574" tIns="50288" rIns="100574" bIns="50288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1006023"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432281" y="7008173"/>
            <a:ext cx="3181138" cy="402567"/>
          </a:xfrm>
          <a:prstGeom prst="rect">
            <a:avLst/>
          </a:prstGeom>
        </p:spPr>
        <p:txBody>
          <a:bodyPr vert="horz" lIns="100574" tIns="50288" rIns="100574" bIns="50288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1006023"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199418" y="7008173"/>
            <a:ext cx="2343997" cy="402567"/>
          </a:xfrm>
          <a:prstGeom prst="rect">
            <a:avLst/>
          </a:prstGeom>
        </p:spPr>
        <p:txBody>
          <a:bodyPr vert="horz" lIns="100574" tIns="50288" rIns="100574" bIns="50288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1006023">
              <a:defRPr/>
            </a:pPr>
            <a:fld id="{7003E3C4-1E77-4032-86DE-8FDAB0ED31F7}" type="slidenum">
              <a:rPr lang="ru-RU">
                <a:solidFill>
                  <a:prstClr val="black">
                    <a:tint val="75000"/>
                  </a:prstClr>
                </a:solidFill>
              </a:rPr>
              <a:pPr defTabSz="100602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70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4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5pPr>
      <a:lvl6pPr marL="502872"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6pPr>
      <a:lvl7pPr marL="1005745"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7pPr>
      <a:lvl8pPr marL="1508616"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8pPr>
      <a:lvl9pPr marL="2011489"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9pPr>
    </p:titleStyle>
    <p:bodyStyle>
      <a:lvl1pPr marL="377155" indent="-377155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17168" indent="-314294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31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181" indent="-251438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60054" indent="-251438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62925" indent="-251438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65797" indent="-251438" algn="l" defTabSz="100574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8670" indent="-251438" algn="l" defTabSz="100574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71543" indent="-251438" algn="l" defTabSz="100574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74415" indent="-251438" algn="l" defTabSz="100574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574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872" algn="l" defTabSz="100574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745" algn="l" defTabSz="100574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8616" algn="l" defTabSz="100574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1489" algn="l" defTabSz="100574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62" algn="l" defTabSz="100574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17235" algn="l" defTabSz="100574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20108" algn="l" defTabSz="100574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22980" algn="l" defTabSz="100574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jpe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4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21966" y="2138857"/>
            <a:ext cx="6723295" cy="98016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100560" tIns="50281" rIns="100560" bIns="50281" anchor="ctr"/>
          <a:lstStyle/>
          <a:p>
            <a:pPr algn="ctr" defTabSz="914274"/>
            <a:endParaRPr lang="en-US" sz="900" dirty="0">
              <a:solidFill>
                <a:srgbClr val="45545F"/>
              </a:solidFill>
            </a:endParaRPr>
          </a:p>
        </p:txBody>
      </p:sp>
      <p:sp>
        <p:nvSpPr>
          <p:cNvPr id="15369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21966" y="4977046"/>
            <a:ext cx="6723295" cy="73861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91416" tIns="45707" rIns="91416" bIns="45707" anchor="ctr"/>
          <a:lstStyle/>
          <a:p>
            <a:pPr algn="ctr" defTabSz="914274"/>
            <a:endParaRPr lang="en-US" sz="900" dirty="0">
              <a:solidFill>
                <a:srgbClr val="45545F"/>
              </a:solidFill>
            </a:endParaRPr>
          </a:p>
        </p:txBody>
      </p:sp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51153" y="292300"/>
            <a:ext cx="2511425" cy="519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7423969"/>
            <a:ext cx="10045700" cy="1694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91416" tIns="45707" rIns="91416" bIns="45707" anchor="ctr"/>
          <a:lstStyle/>
          <a:p>
            <a:pPr algn="ctr" defTabSz="914274"/>
            <a:endParaRPr lang="en-US" sz="900" dirty="0">
              <a:solidFill>
                <a:srgbClr val="45545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21966" y="2911047"/>
            <a:ext cx="7001284" cy="4359067"/>
          </a:xfrm>
          <a:prstGeom prst="rect">
            <a:avLst/>
          </a:prstGeom>
          <a:noFill/>
        </p:spPr>
        <p:txBody>
          <a:bodyPr wrap="square" lIns="110667" tIns="55335" rIns="110667" bIns="55335" rtlCol="0">
            <a:spAutoFit/>
          </a:bodyPr>
          <a:lstStyle/>
          <a:p>
            <a:pPr algn="ctr"/>
            <a:r>
              <a:rPr lang="ru-RU" sz="3200" dirty="0">
                <a:latin typeface="Tahoma" pitchFamily="34" charset="0"/>
                <a:ea typeface="Tahoma" pitchFamily="34" charset="0"/>
                <a:cs typeface="Tahoma" pitchFamily="34" charset="0"/>
              </a:rPr>
              <a:t>А.Г. Носов</a:t>
            </a:r>
          </a:p>
          <a:p>
            <a:pPr algn="ctr"/>
            <a:r>
              <a:rPr lang="ru-RU" sz="3200" dirty="0">
                <a:latin typeface="Tahoma" pitchFamily="34" charset="0"/>
                <a:ea typeface="Tahoma" pitchFamily="34" charset="0"/>
                <a:cs typeface="Tahoma" pitchFamily="34" charset="0"/>
              </a:rPr>
              <a:t>Заместитель председателя </a:t>
            </a:r>
            <a:r>
              <a:rPr lang="ru-RU" sz="3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равления</a:t>
            </a:r>
          </a:p>
          <a:p>
            <a:pPr algn="ctr"/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Май 2016 г.</a:t>
            </a:r>
            <a:endParaRPr lang="en-US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6677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5574" y="212777"/>
            <a:ext cx="1991812" cy="41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" descr="https://i.gyazo.com/17378b9e57e993d3bd5b5a87ea1b2774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747" y="3859740"/>
            <a:ext cx="4193028" cy="360324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https://i.gyazo.com/15562819a65b5bfa389eb2e447c224a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959" y="3859740"/>
            <a:ext cx="5111787" cy="29165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253823" y="612279"/>
            <a:ext cx="9357337" cy="3821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59"/>
              </a:spcAft>
            </a:pPr>
            <a:r>
              <a:rPr lang="ru-RU" sz="1538" b="1" dirty="0"/>
              <a:t>Европейские государства уже проводят единую политику в области организации сети высокоскоростных автотранспортных коридоров с обеспечением движения беспилотного автотранспорта различных уровней автономности – от частичной в рамках автопоездов до полного автономного движения с бесшовной интеграцией в транспортно-логистический комплекс ЕС. </a:t>
            </a:r>
          </a:p>
          <a:p>
            <a:pPr algn="just">
              <a:spcAft>
                <a:spcPts val="659"/>
              </a:spcAft>
            </a:pPr>
            <a:r>
              <a:rPr lang="ru-RU" sz="1538" dirty="0"/>
              <a:t>Помимо организации масштабных полевых испытаний беспилотных грузовых автомобилей с участием «большой семерки» крупнейших европейских автопроизводителей (апрель 2016г.), проводится активная работа по изменению национальной нормативно-правовой базы в каждой из стран-участниц, регламентирующей все аспекты использования подобного вида транспортных средств, ожидается (буквально в мае 2016г.) внесение пакета предложений по изменению правил Венской конвенции.</a:t>
            </a:r>
            <a:endParaRPr lang="ru-RU" sz="1538" b="1" dirty="0"/>
          </a:p>
          <a:p>
            <a:pPr algn="just"/>
            <a:r>
              <a:rPr lang="ru-RU" sz="1538" b="1" dirty="0"/>
              <a:t>На примере реализации проекта кооперативного транспортного коридора: Нидерланды – Германия – Австрия отрабатываются основные технические решения для инфраструктурной части обеспечения движения беспилотного автотранспорта, с последующим закреплением в международных стандартах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05F13A9-AA69-4AEE-8EC3-10DF6A26DC27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333959" y="-7166"/>
            <a:ext cx="8346359" cy="716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А что в Европе?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06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0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7414564"/>
            <a:ext cx="10045700" cy="168843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100428" tIns="50215" rIns="100428" bIns="50215" anchor="ctr"/>
          <a:lstStyle/>
          <a:p>
            <a:pPr algn="ctr" defTabSz="1002618"/>
            <a:endParaRPr lang="en-US" sz="879" dirty="0">
              <a:solidFill>
                <a:srgbClr val="45545F"/>
              </a:solidFill>
              <a:latin typeface="Calibri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38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51153" y="108223"/>
            <a:ext cx="2511425" cy="51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77909" y="113015"/>
            <a:ext cx="7905940" cy="716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Перспективные 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трансевразийские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маршруты сети</a:t>
            </a:r>
          </a:p>
          <a:p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роботизированных транспортных коридоров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5" t="15228" r="13915" b="9173"/>
          <a:stretch/>
        </p:blipFill>
        <p:spPr>
          <a:xfrm>
            <a:off x="154839" y="1224900"/>
            <a:ext cx="9739589" cy="5436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71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1341098"/>
            <a:ext cx="10045700" cy="10762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7" rIns="91296" bIns="45647" spcCol="0" rtlCol="0" anchor="ctr"/>
          <a:lstStyle/>
          <a:p>
            <a:pPr algn="ctr"/>
            <a:endParaRPr lang="ru-RU" dirty="0"/>
          </a:p>
        </p:txBody>
      </p:sp>
      <p:sp>
        <p:nvSpPr>
          <p:cNvPr id="1640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7414564"/>
            <a:ext cx="10045700" cy="168843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100428" tIns="50215" rIns="100428" bIns="50215" anchor="ctr"/>
          <a:lstStyle/>
          <a:p>
            <a:pPr algn="ctr" defTabSz="1002618"/>
            <a:endParaRPr lang="en-US" sz="879" dirty="0">
              <a:solidFill>
                <a:srgbClr val="45545F"/>
              </a:solidFill>
              <a:latin typeface="Calibri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281329" y="982342"/>
            <a:ext cx="9422042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91" name="Прямоугольник 28"/>
          <p:cNvSpPr>
            <a:spLocks noChangeArrowheads="1"/>
          </p:cNvSpPr>
          <p:nvPr/>
        </p:nvSpPr>
        <p:spPr bwMode="auto">
          <a:xfrm>
            <a:off x="281329" y="375130"/>
            <a:ext cx="6901762" cy="3784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Стратегическая миссия ГК Автодор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38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51153" y="304750"/>
            <a:ext cx="2511425" cy="51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414338" y="1341097"/>
            <a:ext cx="8712968" cy="923182"/>
          </a:xfrm>
          <a:prstGeom prst="rect">
            <a:avLst/>
          </a:prstGeom>
          <a:noFill/>
        </p:spPr>
        <p:txBody>
          <a:bodyPr wrap="square" lIns="91296" tIns="45647" rIns="91296" bIns="45647" rtlCol="0">
            <a:spAutoFit/>
          </a:bodyPr>
          <a:lstStyle/>
          <a:p>
            <a:r>
              <a:rPr lang="ru-RU" dirty="0"/>
              <a:t>Удовлетворение потребностей общества в предоставлении высококачественной инфраструктурной услуги скоростного автодорожного сообщени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81329" y="4011776"/>
            <a:ext cx="3589394" cy="1406969"/>
          </a:xfrm>
          <a:prstGeom prst="rect">
            <a:avLst/>
          </a:prstGeom>
          <a:noFill/>
        </p:spPr>
        <p:txBody>
          <a:bodyPr wrap="square" lIns="91296" tIns="45647" rIns="91296" bIns="45647" rtlCol="0">
            <a:spAutoFit/>
          </a:bodyPr>
          <a:lstStyle/>
          <a:p>
            <a:r>
              <a:rPr lang="ru-RU" dirty="0" smtClean="0"/>
              <a:t>Сценарий догоняющего развития                                </a:t>
            </a:r>
            <a:r>
              <a:rPr lang="ru-RU" sz="1648" dirty="0"/>
              <a:t>(ориентация на существующие мировые параметры качества и виды инфраструктурных услуг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679035" y="4016440"/>
            <a:ext cx="3183543" cy="1406969"/>
          </a:xfrm>
          <a:prstGeom prst="rect">
            <a:avLst/>
          </a:prstGeom>
          <a:noFill/>
        </p:spPr>
        <p:txBody>
          <a:bodyPr wrap="square" lIns="91296" tIns="45647" rIns="91296" bIns="45647" rtlCol="0">
            <a:spAutoFit/>
          </a:bodyPr>
          <a:lstStyle/>
          <a:p>
            <a:r>
              <a:rPr lang="ru-RU" dirty="0" smtClean="0"/>
              <a:t>Сценарий опережающего развития                           </a:t>
            </a:r>
            <a:r>
              <a:rPr lang="ru-RU" sz="1648" dirty="0"/>
              <a:t>(ориентация на перспективные технологии и новые виды услуг будущего)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3552189" y="6004911"/>
            <a:ext cx="2880320" cy="646183"/>
          </a:xfrm>
          <a:prstGeom prst="rect">
            <a:avLst/>
          </a:prstGeom>
          <a:noFill/>
        </p:spPr>
        <p:txBody>
          <a:bodyPr wrap="square" lIns="91296" tIns="45647" rIns="91296" bIns="45647" rtlCol="0">
            <a:spAutoFit/>
          </a:bodyPr>
          <a:lstStyle/>
          <a:p>
            <a:pPr algn="ctr"/>
            <a:r>
              <a:rPr lang="ru-RU" dirty="0" smtClean="0"/>
              <a:t>Сбалансированный сценарий</a:t>
            </a:r>
            <a:endParaRPr lang="ru-RU" dirty="0"/>
          </a:p>
        </p:txBody>
      </p:sp>
      <p:pic>
        <p:nvPicPr>
          <p:cNvPr id="13" name="Picture 2" descr="C:\Users\Nosov_AG\AppData\Local\Microsoft\Windows\Temporary Internet Files\Content.IE5\H6B3EMYA\pensii-voennoslugashih-zakon-o-pensiyah[1]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022" y="2680601"/>
            <a:ext cx="2364689" cy="1727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1608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/>
          <p:cNvSpPr>
            <a:spLocks noGrp="1"/>
          </p:cNvSpPr>
          <p:nvPr>
            <p:ph type="ctrTitle"/>
          </p:nvPr>
        </p:nvSpPr>
        <p:spPr>
          <a:xfrm>
            <a:off x="342330" y="146882"/>
            <a:ext cx="6974676" cy="396961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Что делать?</a:t>
            </a:r>
            <a:endParaRPr lang="ru-RU" sz="2400" b="1" dirty="0">
              <a:solidFill>
                <a:schemeClr val="bg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5574" y="212777"/>
            <a:ext cx="1991812" cy="41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TextBox 36"/>
          <p:cNvSpPr txBox="1"/>
          <p:nvPr/>
        </p:nvSpPr>
        <p:spPr>
          <a:xfrm>
            <a:off x="198314" y="752577"/>
            <a:ext cx="9505056" cy="7019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r>
              <a:rPr lang="ru-RU" sz="1600" dirty="0" smtClean="0"/>
              <a:t>При планировании и проектировании сети скоростных автомобильных дорог уже сегодня необходимо закладывать </a:t>
            </a:r>
            <a:r>
              <a:rPr lang="ru-RU" sz="1600" dirty="0"/>
              <a:t>технические решения на базе </a:t>
            </a:r>
            <a:r>
              <a:rPr lang="en-US" sz="1600" dirty="0" smtClean="0"/>
              <a:t>v2i</a:t>
            </a:r>
            <a:r>
              <a:rPr lang="ru-RU" sz="1600" dirty="0" smtClean="0"/>
              <a:t> и иных технологий, обеспечивающие перспективные потребности в организации движения роботизированного автотранспорта, прежде всего - в сегменте грузовых перевозок, а также учитывающие общемировой тренд к поэтапной автономизации управления всеми автотранспортными средствами и растущий спрос на соответствующие инфраструктурные инфокоммуникационные</a:t>
            </a:r>
            <a:r>
              <a:rPr lang="en-US" sz="1600" dirty="0" smtClean="0"/>
              <a:t> </a:t>
            </a:r>
            <a:r>
              <a:rPr lang="ru-RU" sz="1600" dirty="0" smtClean="0"/>
              <a:t>услуги</a:t>
            </a:r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r>
              <a:rPr lang="ru-RU" sz="1600" dirty="0" smtClean="0"/>
              <a:t>Как и другие технологии </a:t>
            </a:r>
            <a:r>
              <a:rPr lang="en-US" sz="1600" dirty="0" smtClean="0"/>
              <a:t>VI </a:t>
            </a:r>
            <a:r>
              <a:rPr lang="ru-RU" sz="1600" dirty="0" smtClean="0"/>
              <a:t>технологического уклада, технология роботизированных транспортных коридоров создается на стыке различных отраслей экономики и научного знания (строительство, телекоммуникации, ИТ-сектор, автопром, приборостроение и т.д.), что требует кооперации и объединения усилий различных центров компетенций, в том числе:</a:t>
            </a:r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endParaRPr lang="ru-RU" sz="1600" dirty="0"/>
          </a:p>
          <a:p>
            <a:pPr algn="just">
              <a:spcAft>
                <a:spcPts val="659"/>
              </a:spcAft>
            </a:pPr>
            <a:r>
              <a:rPr lang="ru-RU" sz="1600" dirty="0" smtClean="0"/>
              <a:t>с инфраструктурными          с малым инновационным     с автопроизводителями       зарубежными            компаниями                                          бизнесом                                                                 партнерами</a:t>
            </a:r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endParaRPr lang="ru-RU" sz="1600" dirty="0" smtClean="0"/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r>
              <a:rPr lang="ru-RU" sz="1600" dirty="0" smtClean="0"/>
              <a:t>Необходимы предпринять серьезные усилия в области стандартизации и законодательного регулирования использования беспилотного (автономного</a:t>
            </a:r>
            <a:r>
              <a:rPr lang="ru-RU" sz="1600" smtClean="0"/>
              <a:t>)  автотранспорта</a:t>
            </a:r>
            <a:r>
              <a:rPr lang="ru-RU" sz="1600" dirty="0" smtClean="0"/>
              <a:t>, синхронизированного с разрабатываемыми стандартами ЕС</a:t>
            </a:r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endParaRPr lang="ru-RU" sz="1600" dirty="0"/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endParaRPr lang="ru-RU" sz="1600" dirty="0" smtClean="0"/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endParaRPr lang="ru-RU" sz="1600" dirty="0" smtClean="0"/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endParaRPr lang="ru-RU" sz="1600" dirty="0"/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endParaRPr lang="ru-RU" sz="1600" dirty="0" smtClean="0"/>
          </a:p>
          <a:p>
            <a:pPr marL="342900" indent="-342900" algn="just">
              <a:spcAft>
                <a:spcPts val="659"/>
              </a:spcAft>
              <a:buFont typeface="Wingdings" panose="05000000000000000000" pitchFamily="2" charset="2"/>
              <a:buChar char="ü"/>
            </a:pPr>
            <a:endParaRPr lang="ru-RU" dirty="0" smtClean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05F13A9-AA69-4AEE-8EC3-10DF6A26DC27}" type="slidenum">
              <a:rPr lang="ru-RU" smtClean="0"/>
              <a:pPr/>
              <a:t>13</a:t>
            </a:fld>
            <a:endParaRPr lang="ru-RU" dirty="0"/>
          </a:p>
        </p:txBody>
      </p:sp>
      <p:cxnSp>
        <p:nvCxnSpPr>
          <p:cNvPr id="3" name="Прямая со стрелкой 2"/>
          <p:cNvCxnSpPr/>
          <p:nvPr/>
        </p:nvCxnSpPr>
        <p:spPr>
          <a:xfrm flipH="1">
            <a:off x="2142530" y="3636615"/>
            <a:ext cx="2664297" cy="36004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>
            <a:off x="5022850" y="3636615"/>
            <a:ext cx="0" cy="36004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>
            <a:off x="5238874" y="3636615"/>
            <a:ext cx="1440160" cy="36004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5613913" y="3633097"/>
            <a:ext cx="3220792" cy="367076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882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0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7414564"/>
            <a:ext cx="10045700" cy="168843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100428" tIns="50215" rIns="100428" bIns="50215" anchor="ctr"/>
          <a:lstStyle/>
          <a:p>
            <a:pPr algn="ctr" defTabSz="1002618"/>
            <a:endParaRPr lang="en-US" sz="879" dirty="0">
              <a:solidFill>
                <a:srgbClr val="45545F"/>
              </a:solidFill>
              <a:latin typeface="Calibri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38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51153" y="108223"/>
            <a:ext cx="2511425" cy="51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345" y="1116576"/>
            <a:ext cx="8697010" cy="6119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342330" y="228782"/>
            <a:ext cx="6202082" cy="590588"/>
          </a:xfrm>
          <a:prstGeom prst="rect">
            <a:avLst/>
          </a:prstGeom>
        </p:spPr>
        <p:txBody>
          <a:bodyPr>
            <a:norm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5pPr>
            <a:lvl6pPr marL="502872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6pPr>
            <a:lvl7pPr marL="1005745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7pPr>
            <a:lvl8pPr marL="1508616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8pPr>
            <a:lvl9pPr marL="2011489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На пороге больших изменений….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591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0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7414564"/>
            <a:ext cx="10045700" cy="168843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100428" tIns="50215" rIns="100428" bIns="50215" anchor="ctr"/>
          <a:lstStyle/>
          <a:p>
            <a:pPr algn="ctr" defTabSz="1002618"/>
            <a:endParaRPr lang="en-US" sz="879" dirty="0">
              <a:solidFill>
                <a:srgbClr val="45545F"/>
              </a:solidFill>
              <a:latin typeface="Calibri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38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51153" y="108223"/>
            <a:ext cx="2511425" cy="51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342330" y="226254"/>
            <a:ext cx="6446131" cy="590588"/>
          </a:xfrm>
          <a:prstGeom prst="rect">
            <a:avLst/>
          </a:prstGeom>
        </p:spPr>
        <p:txBody>
          <a:bodyPr>
            <a:no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5pPr>
            <a:lvl6pPr marL="502872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6pPr>
            <a:lvl7pPr marL="1005745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7pPr>
            <a:lvl8pPr marL="1508616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8pPr>
            <a:lvl9pPr marL="2011489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Грядущая эра </a:t>
            </a:r>
            <a:r>
              <a:rPr lang="en-US" sz="2000" b="1" dirty="0" smtClean="0">
                <a:solidFill>
                  <a:schemeClr val="bg1">
                    <a:lumMod val="50000"/>
                  </a:schemeClr>
                </a:solidFill>
              </a:rPr>
              <a:t>VI 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технологического уклада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/>
          <a:srcRect t="7096"/>
          <a:stretch/>
        </p:blipFill>
        <p:spPr>
          <a:xfrm>
            <a:off x="126307" y="1007480"/>
            <a:ext cx="9736272" cy="5605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544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0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7414564"/>
            <a:ext cx="10045700" cy="168843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100428" tIns="50215" rIns="100428" bIns="50215" anchor="ctr"/>
          <a:lstStyle/>
          <a:p>
            <a:pPr algn="ctr" defTabSz="1002618"/>
            <a:endParaRPr lang="en-US" sz="879" dirty="0">
              <a:solidFill>
                <a:srgbClr val="45545F"/>
              </a:solidFill>
              <a:latin typeface="Calibri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26" y="396256"/>
            <a:ext cx="9728742" cy="6867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51153" y="108223"/>
            <a:ext cx="2511425" cy="51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26" y="548656"/>
            <a:ext cx="9728742" cy="6867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295226" y="426040"/>
            <a:ext cx="5469606" cy="590588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5pPr>
            <a:lvl6pPr marL="502872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6pPr>
            <a:lvl7pPr marL="1005745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7pPr>
            <a:lvl8pPr marL="1508616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8pPr>
            <a:lvl9pPr marL="2011489" algn="ctr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       Грядущая эра </a:t>
            </a:r>
            <a:r>
              <a:rPr lang="en-US" sz="2000" b="1" dirty="0" smtClean="0">
                <a:solidFill>
                  <a:schemeClr val="bg1">
                    <a:lumMod val="50000"/>
                  </a:schemeClr>
                </a:solidFill>
              </a:rPr>
              <a:t>VI 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технологического уклада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946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0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7414564"/>
            <a:ext cx="10045700" cy="168843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100428" tIns="50215" rIns="100428" bIns="50215" anchor="ctr"/>
          <a:lstStyle/>
          <a:p>
            <a:pPr algn="ctr" defTabSz="1002618"/>
            <a:endParaRPr lang="en-US" sz="879" dirty="0">
              <a:solidFill>
                <a:srgbClr val="45545F"/>
              </a:solidFill>
              <a:latin typeface="Calibri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38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51153" y="108223"/>
            <a:ext cx="2511425" cy="51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Объект 2"/>
          <p:cNvSpPr txBox="1">
            <a:spLocks/>
          </p:cNvSpPr>
          <p:nvPr/>
        </p:nvSpPr>
        <p:spPr>
          <a:xfrm>
            <a:off x="245327" y="810863"/>
            <a:ext cx="5209571" cy="27657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зработка роботизированных беспилотных транспортных средств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ТС) является одним из ключевых технологических трендов в мировом автомобилестроении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 прогнозам аналитического агентства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HS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эпоха массового производства БТС начнется в 2025 году, достигнув примерно 9%-10% мирового объема продаж к 2035 году. Полное замещение обычных автомобилей роботизированными транспортными средствами прогнозируется в 2040-2050 гг.  В настоящее время разработка опытных прототипов БТС ведется рядом ведущих автоконцернов мира, включая Мерседес, Вольво, Ауди, Ниссан,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M,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МВ, Форд и т.д. В России проект по созданию беспилотных грузовиков реализуется заводом КАМАЗ совместно с ООО «Когнитивные технологии», при этом продвигаемые ими технологические решения во многом опережают уровень современных зарубежных разработок. 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69460" y="186279"/>
            <a:ext cx="11158901" cy="716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Перспективные тренды  в автомобилестроении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1436663106"/>
              </p:ext>
            </p:extLst>
          </p:nvPr>
        </p:nvGraphicFramePr>
        <p:xfrm>
          <a:off x="5368637" y="673784"/>
          <a:ext cx="4493941" cy="3100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2934618" y="3789450"/>
            <a:ext cx="74885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Calibri" panose="020F0502020204030204"/>
              </a:rPr>
              <a:t>Распространение технологий автономизации управления транспортными средствами </a:t>
            </a:r>
            <a:r>
              <a:rPr lang="ru-RU" sz="1200" i="1" dirty="0" smtClean="0">
                <a:solidFill>
                  <a:prstClr val="black"/>
                </a:solidFill>
                <a:latin typeface="Calibri" panose="020F0502020204030204"/>
              </a:rPr>
              <a:t>(прогноз </a:t>
            </a:r>
            <a:r>
              <a:rPr lang="en-US" sz="1200" i="1" dirty="0" smtClean="0">
                <a:solidFill>
                  <a:prstClr val="black"/>
                </a:solidFill>
                <a:latin typeface="Calibri" panose="020F0502020204030204"/>
              </a:rPr>
              <a:t>IHS)</a:t>
            </a:r>
            <a:r>
              <a:rPr lang="ru-RU" sz="1200" i="1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endParaRPr lang="ru-RU" sz="1200" i="1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15" name="Picture 26" descr="http://www.1gai.ru/uploads/posts/2015-03/1426516927_avtonomnye-avtomobili-prognoz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656" t="3600" r="3403" b="21059"/>
          <a:stretch/>
        </p:blipFill>
        <p:spPr bwMode="auto">
          <a:xfrm>
            <a:off x="169460" y="4082075"/>
            <a:ext cx="3322812" cy="3301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2934618" y="3789450"/>
            <a:ext cx="74885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Calibri" panose="020F0502020204030204"/>
              </a:rPr>
              <a:t>Распространение технологий автономизации управления транспортными средствами </a:t>
            </a:r>
            <a:r>
              <a:rPr lang="ru-RU" sz="1200" i="1" dirty="0" smtClean="0">
                <a:solidFill>
                  <a:prstClr val="black"/>
                </a:solidFill>
                <a:latin typeface="Calibri" panose="020F0502020204030204"/>
              </a:rPr>
              <a:t>(прогноз </a:t>
            </a:r>
            <a:r>
              <a:rPr lang="en-US" sz="1200" i="1" dirty="0" smtClean="0">
                <a:solidFill>
                  <a:prstClr val="black"/>
                </a:solidFill>
                <a:latin typeface="Calibri" panose="020F0502020204030204"/>
              </a:rPr>
              <a:t>IHS)</a:t>
            </a:r>
            <a:r>
              <a:rPr lang="ru-RU" sz="1200" i="1" dirty="0" smtClean="0">
                <a:solidFill>
                  <a:prstClr val="black"/>
                </a:solidFill>
                <a:latin typeface="Calibri" panose="020F0502020204030204"/>
              </a:rPr>
              <a:t> </a:t>
            </a:r>
            <a:endParaRPr lang="ru-RU" sz="1200" i="1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17" name="Picture 3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7903" y="4082076"/>
            <a:ext cx="5974675" cy="3195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0098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0322" y="246425"/>
            <a:ext cx="7200801" cy="590402"/>
          </a:xfrm>
        </p:spPr>
        <p:txBody>
          <a:bodyPr>
            <a:noAutofit/>
          </a:bodyPr>
          <a:lstStyle/>
          <a:p>
            <a:pPr algn="l"/>
            <a:r>
              <a:rPr lang="ru-RU" sz="1800" b="1" dirty="0">
                <a:solidFill>
                  <a:schemeClr val="bg1">
                    <a:lumMod val="50000"/>
                  </a:schemeClr>
                </a:solidFill>
              </a:rPr>
              <a:t>Перспективные экономические и транспортные эффекты использования беспилотных автотранспортных средств (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БПТС</a:t>
            </a:r>
            <a:r>
              <a:rPr lang="ru-RU" sz="1800" b="1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431310" y="1116336"/>
            <a:ext cx="9131372" cy="4935465"/>
            <a:chOff x="467069" y="1226633"/>
            <a:chExt cx="11082322" cy="4120853"/>
          </a:xfrm>
        </p:grpSpPr>
        <p:sp>
          <p:nvSpPr>
            <p:cNvPr id="9" name="TextBox 8"/>
            <p:cNvSpPr txBox="1"/>
            <p:nvPr/>
          </p:nvSpPr>
          <p:spPr>
            <a:xfrm>
              <a:off x="467069" y="1236734"/>
              <a:ext cx="1572895" cy="42081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318" dirty="0">
                  <a:solidFill>
                    <a:schemeClr val="bg1"/>
                  </a:solidFill>
                </a:rPr>
                <a:t>для общества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141035" y="1226633"/>
              <a:ext cx="9333567" cy="41576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318" dirty="0"/>
                <a:t>обеспечение резкого снижения аварийности до 80-90% за счет исключения действия человеческого фактора (причина </a:t>
              </a:r>
              <a:r>
                <a:rPr lang="ru-RU" sz="1318" dirty="0" smtClean="0"/>
                <a:t>80-90% </a:t>
              </a:r>
              <a:r>
                <a:rPr lang="ru-RU" sz="1318" dirty="0"/>
                <a:t>ДТП)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99584" y="1766026"/>
              <a:ext cx="1572895" cy="39075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318" dirty="0">
                  <a:solidFill>
                    <a:schemeClr val="bg1"/>
                  </a:solidFill>
                </a:rPr>
                <a:t>для перевозчиков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801730" y="1756132"/>
              <a:ext cx="1747661" cy="153296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318" dirty="0">
                  <a:solidFill>
                    <a:schemeClr val="bg1"/>
                  </a:solidFill>
                </a:rPr>
                <a:t>суммарный объем экономии может достигать </a:t>
              </a:r>
              <a:r>
                <a:rPr lang="ru-RU" sz="1318" dirty="0" smtClean="0">
                  <a:solidFill>
                    <a:schemeClr val="bg1"/>
                  </a:solidFill>
                </a:rPr>
                <a:t>      40-50</a:t>
              </a:r>
              <a:r>
                <a:rPr lang="ru-RU" sz="1318" dirty="0">
                  <a:solidFill>
                    <a:schemeClr val="bg1"/>
                  </a:solidFill>
                </a:rPr>
                <a:t>%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467071" y="3486681"/>
              <a:ext cx="1551300" cy="90174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318" dirty="0">
                  <a:solidFill>
                    <a:schemeClr val="bg1"/>
                  </a:solidFill>
                </a:rPr>
                <a:t>для общества (дорожного хозяйства)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141031" y="3493888"/>
              <a:ext cx="9333571" cy="7544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318" dirty="0"/>
                <a:t>увеличение максимальной пропускной способности автомобильных дорог за счет упорядочивания движения, минимизации требуемых дистанций между транспортными средствами и т.д., что в перспективе сможет обеспечить значительную экономию расходов на расширение </a:t>
              </a:r>
              <a:r>
                <a:rPr lang="ru-RU" sz="1318" dirty="0" smtClean="0"/>
                <a:t>(реконструкцию) дорожной </a:t>
              </a:r>
              <a:r>
                <a:rPr lang="ru-RU" sz="1318" dirty="0"/>
                <a:t>сети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141032" y="4423706"/>
              <a:ext cx="7527071" cy="9237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318" dirty="0"/>
                <a:t>в перспективе -при полном переходе на использование </a:t>
              </a:r>
              <a:r>
                <a:rPr lang="ru-RU" sz="1318" dirty="0" smtClean="0"/>
                <a:t>БПТС </a:t>
              </a:r>
              <a:r>
                <a:rPr lang="ru-RU" sz="1318" dirty="0"/>
                <a:t>отпадет необходимость: в обочинах, разделительных полосах движения, барьерных ограждениях, освещении, дорогостоящих элементах светоотражения, безопасности движения и информирования водителей и т.д. // ширина полос движения может быть сокращена с нынешних 3,75 м – до 2,8-3 м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82911" y="4468016"/>
              <a:ext cx="1551300" cy="87168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318" dirty="0">
                  <a:solidFill>
                    <a:schemeClr val="bg1"/>
                  </a:solidFill>
                </a:rPr>
                <a:t>для общества (дорожного хозяйства)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9778339" y="4412380"/>
              <a:ext cx="1696264" cy="93180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318" dirty="0">
                  <a:solidFill>
                    <a:schemeClr val="bg1"/>
                  </a:solidFill>
                </a:rPr>
                <a:t>потенциальное сокращение расходов на строительство на 30-40%</a:t>
              </a: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1826757" y="1750511"/>
            <a:ext cx="6185822" cy="4979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318" dirty="0"/>
              <a:t>обеспечение значительной экономии топлива и расходов на эксплуатацию (до 30%) за счет оптимизации скоростного режима движени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79176" y="2335730"/>
            <a:ext cx="1260000" cy="68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1318" dirty="0">
                <a:solidFill>
                  <a:schemeClr val="bg1"/>
                </a:solidFill>
              </a:rPr>
              <a:t>для перевозчиков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866324" y="2342185"/>
            <a:ext cx="6146255" cy="7007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318" dirty="0"/>
              <a:t>обеспечение значительного сокращения себестоимости перевозок за счет исключения затрат на фонд оплаты труда, командировочных и накладных расходов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66997" y="3137109"/>
            <a:ext cx="1278207" cy="49795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1318" dirty="0">
                <a:solidFill>
                  <a:schemeClr val="bg1"/>
                </a:solidFill>
              </a:rPr>
              <a:t>для перевозчиков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856752" y="3118547"/>
            <a:ext cx="6155827" cy="4979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>
            <a:defPPr>
              <a:defRPr lang="ru-RU"/>
            </a:defPPr>
            <a:lvl1pPr>
              <a:defRPr sz="1600"/>
            </a:lvl1pPr>
          </a:lstStyle>
          <a:p>
            <a:r>
              <a:rPr lang="ru-RU" sz="1318" dirty="0"/>
              <a:t>возможность безостановочного движения </a:t>
            </a:r>
            <a:r>
              <a:rPr lang="ru-RU" sz="1318" dirty="0" smtClean="0"/>
              <a:t>БПТС </a:t>
            </a:r>
            <a:r>
              <a:rPr lang="ru-RU" sz="1318" dirty="0"/>
              <a:t>до 24 часов в </a:t>
            </a:r>
            <a:r>
              <a:rPr lang="ru-RU" sz="1318" dirty="0" smtClean="0"/>
              <a:t>сутки</a:t>
            </a:r>
          </a:p>
          <a:p>
            <a:endParaRPr lang="ru-RU" sz="1318" dirty="0"/>
          </a:p>
        </p:txBody>
      </p:sp>
      <p:sp>
        <p:nvSpPr>
          <p:cNvPr id="2048" name="Номер слайда 204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D68D0-85B1-4434-A6A5-9F05813C0D0C}" type="slidenum">
              <a:rPr lang="ru-RU" smtClean="0"/>
              <a:t>6</a:t>
            </a:fld>
            <a:endParaRPr lang="ru-RU" dirty="0"/>
          </a:p>
        </p:txBody>
      </p:sp>
      <p:pic>
        <p:nvPicPr>
          <p:cNvPr id="2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51153" y="108223"/>
            <a:ext cx="2511425" cy="51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76271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" name="Номер слайда 204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D68D0-85B1-4434-A6A5-9F05813C0D0C}" type="slidenum">
              <a:rPr lang="ru-RU" smtClean="0"/>
              <a:t>7</a:t>
            </a:fld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76391" y="5136210"/>
            <a:ext cx="9471857" cy="2027688"/>
          </a:xfrm>
          <a:prstGeom prst="rect">
            <a:avLst/>
          </a:prstGeom>
          <a:solidFill>
            <a:schemeClr val="accent6">
              <a:lumMod val="20000"/>
              <a:lumOff val="8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452935" y="878943"/>
            <a:ext cx="9466458" cy="1296902"/>
          </a:xfrm>
          <a:prstGeom prst="rect">
            <a:avLst/>
          </a:prstGeom>
          <a:solidFill>
            <a:schemeClr val="accent5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Заголовок 1"/>
          <p:cNvSpPr txBox="1">
            <a:spLocks/>
          </p:cNvSpPr>
          <p:nvPr/>
        </p:nvSpPr>
        <p:spPr>
          <a:xfrm>
            <a:off x="280091" y="86952"/>
            <a:ext cx="8405888" cy="716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Новые технологические горизонты для автомобильной промышленности и дорожной отрасли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Объект 2"/>
          <p:cNvSpPr txBox="1">
            <a:spLocks/>
          </p:cNvSpPr>
          <p:nvPr/>
        </p:nvSpPr>
        <p:spPr>
          <a:xfrm>
            <a:off x="2646962" y="3530781"/>
            <a:ext cx="7033658" cy="15798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 smtClean="0"/>
              <a:t>Массовое распространение на дорогах роботизированных автотранспортных средств потребует принятия дополнительных мер по обеспечению безопасности дорожного движения и формирования «умной дорожной инфраструктуры», способной поддерживать активную интерак-тивную связь беспилотного автомобиля с дорогой (</a:t>
            </a:r>
            <a:r>
              <a:rPr lang="en-US" sz="1500" dirty="0" smtClean="0"/>
              <a:t>v2i </a:t>
            </a:r>
            <a:r>
              <a:rPr lang="ru-RU" sz="1500" dirty="0" smtClean="0"/>
              <a:t>инфраструктура). Создание </a:t>
            </a:r>
            <a:r>
              <a:rPr lang="en-US" sz="1500" dirty="0" smtClean="0"/>
              <a:t>v2i </a:t>
            </a:r>
            <a:r>
              <a:rPr lang="ru-RU" sz="1500" dirty="0" smtClean="0"/>
              <a:t>инфраструктуры на всей дорожной сети потребует значительных капитальных вложений и может растянуться на длительный временной период даже в развитых странах (20-30 лет).</a:t>
            </a:r>
            <a:endParaRPr lang="ru-RU" sz="1500" dirty="0"/>
          </a:p>
        </p:txBody>
      </p:sp>
      <p:sp>
        <p:nvSpPr>
          <p:cNvPr id="36" name="Объект 2"/>
          <p:cNvSpPr txBox="1">
            <a:spLocks/>
          </p:cNvSpPr>
          <p:nvPr/>
        </p:nvSpPr>
        <p:spPr>
          <a:xfrm>
            <a:off x="808895" y="5250356"/>
            <a:ext cx="9139355" cy="21297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 smtClean="0"/>
              <a:t>Решение проблемы - создание </a:t>
            </a:r>
            <a:r>
              <a:rPr lang="ru-RU" sz="1600" b="1" dirty="0" smtClean="0"/>
              <a:t>роботизированных транспортных коридоров (РТК)</a:t>
            </a:r>
            <a:r>
              <a:rPr lang="ru-RU" sz="1500" dirty="0" smtClean="0"/>
              <a:t>, предусматривающих адаптацию существующей и строящейся сети скоростных автомобильных дорог для организации движения грузовых БПТС. Уже сейчас такие дороги во многом приспособлены для движения </a:t>
            </a:r>
            <a:r>
              <a:rPr lang="ru-RU" sz="1500" dirty="0" err="1" smtClean="0"/>
              <a:t>беспилотников</a:t>
            </a:r>
            <a:r>
              <a:rPr lang="ru-RU" sz="1500" dirty="0" smtClean="0"/>
              <a:t> по параметрам безопасности (отсутствие светофоров и пересечений в одном уровне, разделенные транспортные потоки),  оснащены элементами интеллектуальных транспортных систем и нуждаются в минимальном технологическом дооснащении для решения данной задачи. Помимо этого технология РТК открывает принципиально новые экономические горизонты не только для российского автопрома, но и для всей экономики Российской Федерации, исходя из возможностей организации масштабных грузоперевозок с использованием беспилотного транспорта   </a:t>
            </a:r>
          </a:p>
          <a:p>
            <a:pPr marL="0" indent="0">
              <a:buNone/>
            </a:pPr>
            <a:r>
              <a:rPr lang="ru-RU" sz="1500" dirty="0" smtClean="0"/>
              <a:t> </a:t>
            </a:r>
            <a:endParaRPr lang="ru-RU" sz="150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280091" y="3486410"/>
            <a:ext cx="9731390" cy="3376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290332" y="5136170"/>
            <a:ext cx="9784224" cy="2307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 rot="16200000">
            <a:off x="-724871" y="1855207"/>
            <a:ext cx="2351008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ПЕРСПЕКТИВЫ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 rot="5400000">
            <a:off x="9018020" y="4139336"/>
            <a:ext cx="1656062" cy="30777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ОГРАНИЧЕНИЯ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 rot="16200000">
            <a:off x="-559321" y="5969278"/>
            <a:ext cx="2019909" cy="3693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РЕШЕНИЯ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5" name="Объект 2"/>
          <p:cNvSpPr txBox="1">
            <a:spLocks/>
          </p:cNvSpPr>
          <p:nvPr/>
        </p:nvSpPr>
        <p:spPr>
          <a:xfrm>
            <a:off x="701353" y="864369"/>
            <a:ext cx="9218040" cy="28913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500" dirty="0" smtClean="0"/>
              <a:t>По мнению многих экспертов, на первоначальном этапе БПТС получат наибольшее применение и распространение в сегменте грузовых автомобильных перевозок, способных обеспечить максимальный экономический эффект и быстрый возврат вложенных в разработки инвестиций. Потенциал высокого спроса на рынке, в частности, будет обеспечиваться за счет </a:t>
            </a:r>
            <a:r>
              <a:rPr lang="ru-RU" sz="1500" i="1" dirty="0" smtClean="0"/>
              <a:t>экономичности БПТС, </a:t>
            </a:r>
            <a:r>
              <a:rPr lang="ru-RU" sz="1500" dirty="0" smtClean="0"/>
              <a:t>возможности сокращения до 45-50% транспортных расходов, что сделают их более привлекательными для автоперевозчиков и грузоотправителей в сравнении с обычными транспортными средствами.   </a:t>
            </a:r>
          </a:p>
          <a:p>
            <a:pPr marL="0" indent="0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ru-RU" sz="1500" dirty="0" smtClean="0"/>
              <a:t>В настоящий момент в сегменте производства грузовиков активные разработки в области беспилотных транспортных средств ведутся Мерседес и Вольво, остальные мировые автоконцерны в основном сфокусированы на разработке легковых БПТС. В России активным инициатором и проводником внедрения беспилотных технологий является завод КАМАЗ, уже разработавший первые опытные образцы БПТС    </a:t>
            </a:r>
          </a:p>
        </p:txBody>
      </p:sp>
      <p:pic>
        <p:nvPicPr>
          <p:cNvPr id="4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51153" y="108223"/>
            <a:ext cx="2511425" cy="51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http://ruvsa.com/upload/medialibrary/4cf/12-volvo-vehicle-to-vehiclejpg_smal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624" y="3608891"/>
            <a:ext cx="2408338" cy="1501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1369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0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7414564"/>
            <a:ext cx="10045700" cy="168843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100428" tIns="50215" rIns="100428" bIns="50215" anchor="ctr"/>
          <a:lstStyle/>
          <a:p>
            <a:pPr algn="ctr" defTabSz="1002618"/>
            <a:endParaRPr lang="en-US" sz="879" dirty="0">
              <a:solidFill>
                <a:srgbClr val="45545F"/>
              </a:solidFill>
              <a:latin typeface="Calibri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38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51153" y="108223"/>
            <a:ext cx="2511425" cy="517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Объект 2"/>
          <p:cNvSpPr txBox="1">
            <a:spLocks/>
          </p:cNvSpPr>
          <p:nvPr/>
        </p:nvSpPr>
        <p:spPr>
          <a:xfrm>
            <a:off x="141240" y="910469"/>
            <a:ext cx="11084313" cy="79491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400" dirty="0" smtClean="0"/>
              <a:t>- новая кластерная технология, интегрирующая 3 из 5 ключевых технологий </a:t>
            </a:r>
            <a:r>
              <a:rPr lang="en-US" sz="1400" dirty="0" smtClean="0"/>
              <a:t>VI </a:t>
            </a:r>
            <a:r>
              <a:rPr lang="ru-RU" sz="1400" dirty="0" smtClean="0"/>
              <a:t>технологического уклада:    </a:t>
            </a:r>
            <a:r>
              <a:rPr lang="en-US" sz="1400" dirty="0" smtClean="0"/>
              <a:t>  </a:t>
            </a:r>
            <a:endParaRPr lang="ru-RU" sz="1400" dirty="0"/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270108" y="168338"/>
            <a:ext cx="10955445" cy="6245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Роботизированный транспортный коридор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108" y="1554654"/>
            <a:ext cx="9273307" cy="5604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7048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212777"/>
            <a:ext cx="1991812" cy="41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05F13A9-AA69-4AEE-8EC3-10DF6A26DC27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29320"/>
            <a:ext cx="10045700" cy="6106040"/>
          </a:xfrm>
          <a:prstGeom prst="rect">
            <a:avLst/>
          </a:prstGeom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98314" y="690"/>
            <a:ext cx="7905940" cy="7165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Роботизированные коридоры 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52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Aw.HrpskaoY5qvmvgE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8215</TotalTime>
  <Words>1029</Words>
  <Application>Microsoft Office PowerPoint</Application>
  <PresentationFormat>Произвольный</PresentationFormat>
  <Paragraphs>83</Paragraphs>
  <Slides>13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Tahoma</vt:lpstr>
      <vt:lpstr>Wingdings</vt:lpstr>
      <vt:lpstr>1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ерспективные экономические и транспортные эффекты использования беспилотных автотранспортных средств (БПТС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то делать?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луга Лариса Владимировна</dc:creator>
  <cp:lastModifiedBy>Windows User</cp:lastModifiedBy>
  <cp:revision>802</cp:revision>
  <cp:lastPrinted>2012-11-15T01:18:41Z</cp:lastPrinted>
  <dcterms:created xsi:type="dcterms:W3CDTF">2012-02-24T05:37:26Z</dcterms:created>
  <dcterms:modified xsi:type="dcterms:W3CDTF">2016-05-27T06:24:47Z</dcterms:modified>
</cp:coreProperties>
</file>